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diagrams/quickStyle17.xml" ContentType="application/vnd.openxmlformats-officedocument.drawingml.diagram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17.xml" ContentType="application/vnd.openxmlformats-officedocument.drawingml.diagram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notesSlides/notesSlide12.xml" ContentType="application/vnd.openxmlformats-officedocument.presentationml.notesSlid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notesSlides/notesSlide13.xml" ContentType="application/vnd.openxmlformats-officedocument.presentationml.notesSlid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notesSlides/notesSlide15.xml" ContentType="application/vnd.openxmlformats-officedocument.presentationml.notesSlide+xml"/>
  <Override PartName="/ppt/diagrams/drawing17.xml" ContentType="application/vnd.ms-office.drawingml.diagramDrawing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9"/>
  </p:notesMasterIdLst>
  <p:handoutMasterIdLst>
    <p:handoutMasterId r:id="rId20"/>
  </p:handoutMasterIdLst>
  <p:sldIdLst>
    <p:sldId id="273" r:id="rId2"/>
    <p:sldId id="327" r:id="rId3"/>
    <p:sldId id="335" r:id="rId4"/>
    <p:sldId id="341" r:id="rId5"/>
    <p:sldId id="314" r:id="rId6"/>
    <p:sldId id="313" r:id="rId7"/>
    <p:sldId id="309" r:id="rId8"/>
    <p:sldId id="329" r:id="rId9"/>
    <p:sldId id="340" r:id="rId10"/>
    <p:sldId id="336" r:id="rId11"/>
    <p:sldId id="339" r:id="rId12"/>
    <p:sldId id="286" r:id="rId13"/>
    <p:sldId id="299" r:id="rId14"/>
    <p:sldId id="292" r:id="rId15"/>
    <p:sldId id="284" r:id="rId16"/>
    <p:sldId id="334" r:id="rId17"/>
    <p:sldId id="342" r:id="rId18"/>
  </p:sldIdLst>
  <p:sldSz cx="9144000" cy="5143500" type="screen16x9"/>
  <p:notesSz cx="7099300" cy="10234613"/>
  <p:custDataLst>
    <p:tags r:id="rId21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CAFDC"/>
    <a:srgbClr val="E20074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78" y="-300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15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://webneel.com/daily/creative-drawing-jennifer-tjorvi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e.pinterest.com/pin/556053885218068326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www.openstack.org/" TargetMode="External"/></Relationships>
</file>

<file path=ppt/diagrams/_rels/data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15.xml.rels><?xml version="1.0" encoding="UTF-8" standalone="yes"?>
<Relationships xmlns="http://schemas.openxmlformats.org/package/2006/relationships"><Relationship Id="rId8" Type="http://schemas.openxmlformats.org/officeDocument/2006/relationships/hyperlink" Target="http://webneel.com/daily/creative-drawing-jennifer-tjorvi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e.pinterest.com/pin/556053885218068326/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www.openstack.org/brand/openstack-logo/logo-download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://www.embritas.lt/project/duomenu-apdorojimo-centras/?lang=de" TargetMode="External"/></Relationships>
</file>

<file path=ppt/diagrams/_rels/drawing17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FC4F1C-CC54-4A86-BC94-F82CBFE05673}" type="presOf" srcId="{F351D095-D2C1-4F62-A18D-EFB4BA6E2AA9}" destId="{6BF66C9A-92D4-481D-A538-FD1A4E3DC0D5}" srcOrd="0" destOrd="0" presId="urn:microsoft.com/office/officeart/2005/8/layout/chevron1"/>
    <dgm:cxn modelId="{80F86344-6574-4E6E-83AC-33B8498EE3F8}" type="presOf" srcId="{9C869D94-BD20-4CF6-9CAA-58E706B950F6}" destId="{0AECE453-CE2A-473C-BD27-70D00DA5B95C}" srcOrd="0" destOrd="0" presId="urn:microsoft.com/office/officeart/2005/8/layout/chevron1"/>
    <dgm:cxn modelId="{5FF361CD-A90F-437F-971E-D2DB1B81B7A0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365D43D-E4A6-4028-A79F-4C4C70AB35B7}" type="presOf" srcId="{D14807FD-294C-4482-91EE-34C09B13669A}" destId="{BCE275B7-D1E9-4183-BABE-507E54E1C931}" srcOrd="0" destOrd="0" presId="urn:microsoft.com/office/officeart/2005/8/layout/chevron1"/>
    <dgm:cxn modelId="{DC1AFB8A-E109-4DDB-BA01-5ED09BA18D25}" type="presParOf" srcId="{0AECE453-CE2A-473C-BD27-70D00DA5B95C}" destId="{135DB1F4-89C2-4733-9521-42FD5CECF10C}" srcOrd="0" destOrd="0" presId="urn:microsoft.com/office/officeart/2005/8/layout/chevron1"/>
    <dgm:cxn modelId="{4C28D983-DB56-4FA3-B9DB-96570F614963}" type="presParOf" srcId="{0AECE453-CE2A-473C-BD27-70D00DA5B95C}" destId="{E1C76734-9ABE-473C-AD4C-C4BF49F91E97}" srcOrd="1" destOrd="0" presId="urn:microsoft.com/office/officeart/2005/8/layout/chevron1"/>
    <dgm:cxn modelId="{7C4FC335-E329-4ED0-9659-E4A26A81DB20}" type="presParOf" srcId="{0AECE453-CE2A-473C-BD27-70D00DA5B95C}" destId="{6BF66C9A-92D4-481D-A538-FD1A4E3DC0D5}" srcOrd="2" destOrd="0" presId="urn:microsoft.com/office/officeart/2005/8/layout/chevron1"/>
    <dgm:cxn modelId="{41878C93-1DAC-4029-8E9F-AC038A3383C5}" type="presParOf" srcId="{0AECE453-CE2A-473C-BD27-70D00DA5B95C}" destId="{691CB221-7DD5-49BE-AC21-301798066F30}" srcOrd="3" destOrd="0" presId="urn:microsoft.com/office/officeart/2005/8/layout/chevron1"/>
    <dgm:cxn modelId="{90CC17A8-3C5D-443B-99BC-BDF0EC3BE55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7ED5C16-0781-4F90-9803-7779A8077E04}" type="presOf" srcId="{9C869D94-BD20-4CF6-9CAA-58E706B950F6}" destId="{0AECE453-CE2A-473C-BD27-70D00DA5B95C}" srcOrd="0" destOrd="0" presId="urn:microsoft.com/office/officeart/2005/8/layout/chevron1"/>
    <dgm:cxn modelId="{72625C1D-619F-45A4-BBDC-8E85DD6C091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619D8B4-1713-4594-8A2A-5F50836EA6F9}" type="presOf" srcId="{EB61DA86-9B86-4759-822E-DA32F7AA073E}" destId="{135DB1F4-89C2-4733-9521-42FD5CECF10C}" srcOrd="0" destOrd="0" presId="urn:microsoft.com/office/officeart/2005/8/layout/chevron1"/>
    <dgm:cxn modelId="{5E7A61E8-AA57-4F92-A369-CA17F912A0B8}" type="presOf" srcId="{F351D095-D2C1-4F62-A18D-EFB4BA6E2AA9}" destId="{6BF66C9A-92D4-481D-A538-FD1A4E3DC0D5}" srcOrd="0" destOrd="0" presId="urn:microsoft.com/office/officeart/2005/8/layout/chevron1"/>
    <dgm:cxn modelId="{747485F1-B26A-4099-BCA0-1D8AC9593202}" type="presParOf" srcId="{0AECE453-CE2A-473C-BD27-70D00DA5B95C}" destId="{135DB1F4-89C2-4733-9521-42FD5CECF10C}" srcOrd="0" destOrd="0" presId="urn:microsoft.com/office/officeart/2005/8/layout/chevron1"/>
    <dgm:cxn modelId="{82B29D01-F2FC-46A4-80FA-7A30BEF9FF5C}" type="presParOf" srcId="{0AECE453-CE2A-473C-BD27-70D00DA5B95C}" destId="{E1C76734-9ABE-473C-AD4C-C4BF49F91E97}" srcOrd="1" destOrd="0" presId="urn:microsoft.com/office/officeart/2005/8/layout/chevron1"/>
    <dgm:cxn modelId="{01C1C2ED-72B0-4CD3-9A1B-B541749BF6E5}" type="presParOf" srcId="{0AECE453-CE2A-473C-BD27-70D00DA5B95C}" destId="{6BF66C9A-92D4-481D-A538-FD1A4E3DC0D5}" srcOrd="2" destOrd="0" presId="urn:microsoft.com/office/officeart/2005/8/layout/chevron1"/>
    <dgm:cxn modelId="{22EE3BCD-9286-4E1C-A9D1-6C5E631DAE17}" type="presParOf" srcId="{0AECE453-CE2A-473C-BD27-70D00DA5B95C}" destId="{691CB221-7DD5-49BE-AC21-301798066F30}" srcOrd="3" destOrd="0" presId="urn:microsoft.com/office/officeart/2005/8/layout/chevron1"/>
    <dgm:cxn modelId="{B194FC28-FEE0-4D5F-83F8-45CF30BE6D15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E66C17D-C91E-4E04-9F08-65F46EEB51CE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1CBFC80-F521-4109-9A5B-B16E919E709A}" type="presOf" srcId="{EB61DA86-9B86-4759-822E-DA32F7AA073E}" destId="{135DB1F4-89C2-4733-9521-42FD5CECF10C}" srcOrd="0" destOrd="0" presId="urn:microsoft.com/office/officeart/2005/8/layout/chevron1"/>
    <dgm:cxn modelId="{5152698B-3F19-4B55-838A-6C095785ECCF}" type="presOf" srcId="{D14807FD-294C-4482-91EE-34C09B13669A}" destId="{BCE275B7-D1E9-4183-BABE-507E54E1C931}" srcOrd="0" destOrd="0" presId="urn:microsoft.com/office/officeart/2005/8/layout/chevron1"/>
    <dgm:cxn modelId="{DD237552-DE9E-48A0-A134-8769C164D4E9}" type="presOf" srcId="{F351D095-D2C1-4F62-A18D-EFB4BA6E2AA9}" destId="{6BF66C9A-92D4-481D-A538-FD1A4E3DC0D5}" srcOrd="0" destOrd="0" presId="urn:microsoft.com/office/officeart/2005/8/layout/chevron1"/>
    <dgm:cxn modelId="{04BF63E3-0F97-46E3-B676-C057BBEA0F2B}" type="presParOf" srcId="{0AECE453-CE2A-473C-BD27-70D00DA5B95C}" destId="{135DB1F4-89C2-4733-9521-42FD5CECF10C}" srcOrd="0" destOrd="0" presId="urn:microsoft.com/office/officeart/2005/8/layout/chevron1"/>
    <dgm:cxn modelId="{34ED9564-48E0-45D6-B49D-FAB7C94FC188}" type="presParOf" srcId="{0AECE453-CE2A-473C-BD27-70D00DA5B95C}" destId="{E1C76734-9ABE-473C-AD4C-C4BF49F91E97}" srcOrd="1" destOrd="0" presId="urn:microsoft.com/office/officeart/2005/8/layout/chevron1"/>
    <dgm:cxn modelId="{EE88D064-DA27-44D6-A74F-468869BE8B7D}" type="presParOf" srcId="{0AECE453-CE2A-473C-BD27-70D00DA5B95C}" destId="{6BF66C9A-92D4-481D-A538-FD1A4E3DC0D5}" srcOrd="2" destOrd="0" presId="urn:microsoft.com/office/officeart/2005/8/layout/chevron1"/>
    <dgm:cxn modelId="{F35758A0-9E17-4976-BF86-9CB12BB0D911}" type="presParOf" srcId="{0AECE453-CE2A-473C-BD27-70D00DA5B95C}" destId="{691CB221-7DD5-49BE-AC21-301798066F30}" srcOrd="3" destOrd="0" presId="urn:microsoft.com/office/officeart/2005/8/layout/chevron1"/>
    <dgm:cxn modelId="{9F2445DB-A8A1-4D22-B0CB-9B8A2CB8AB4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 custT="1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200" b="1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dirty="0">
            <a:latin typeface="Arial" pitchFamily="34" charset="0"/>
            <a:cs typeface="Arial" pitchFamily="34" charset="0"/>
          </a:endParaRPr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8C1714FC-9DD9-4B4B-8407-8BA48E5B58E4}" type="presOf" srcId="{D9B18B51-5DB5-45F7-8D85-19BFDAE7EE70}" destId="{FC4C6030-747E-48FD-A592-CF6DDA7519A4}" srcOrd="0" destOrd="0" presId="urn:microsoft.com/office/officeart/2005/8/layout/hProcess4"/>
    <dgm:cxn modelId="{5F346784-637C-40C2-9791-71CB20ED6F40}" type="presOf" srcId="{4DC1ED2C-7CC6-4321-A9E2-D232A85DA891}" destId="{21AC5FF7-1AAA-4C2C-962E-B3C6EE613243}" srcOrd="0" destOrd="2" presId="urn:microsoft.com/office/officeart/2005/8/layout/hProcess4"/>
    <dgm:cxn modelId="{A93C9E1B-60AD-48E0-B8A5-991DAFB6263E}" type="presOf" srcId="{4DC1ED2C-7CC6-4321-A9E2-D232A85DA891}" destId="{2DC0960C-FE4F-461C-84F2-224DD3FDDD85}" srcOrd="1" destOrd="2" presId="urn:microsoft.com/office/officeart/2005/8/layout/hProcess4"/>
    <dgm:cxn modelId="{26C801FE-3310-48AA-BE0F-79EFC1CAD28C}" type="presOf" srcId="{9292FFF5-4783-4EB6-B7AC-0DEA0D632D0D}" destId="{FBE99C35-5B44-4C8B-B0F9-D14622292693}" srcOrd="1" destOrd="2" presId="urn:microsoft.com/office/officeart/2005/8/layout/hProcess4"/>
    <dgm:cxn modelId="{6C2F5088-C013-431A-9A2B-9F0D9BF04F00}" type="presOf" srcId="{27B51D99-7A94-4E76-A341-80356EB4A05F}" destId="{2DC0960C-FE4F-461C-84F2-224DD3FDDD85}" srcOrd="1" destOrd="3" presId="urn:microsoft.com/office/officeart/2005/8/layout/hProcess4"/>
    <dgm:cxn modelId="{D3B84C68-BCB4-4F63-9562-8C07372F47AD}" type="presOf" srcId="{E6116EAE-791A-4FBB-9940-10479BAC3D3E}" destId="{21AC5FF7-1AAA-4C2C-962E-B3C6EE613243}" srcOrd="0" destOrd="1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83B4B391-B669-4FE4-911C-49FF1BCB2362}" type="presOf" srcId="{E3642DD6-1F6B-43AA-9D67-2CF84888C750}" destId="{6861BCAD-DE42-4BC1-ACF4-14F23BA682BF}" srcOrd="0" destOrd="0" presId="urn:microsoft.com/office/officeart/2005/8/layout/hProcess4"/>
    <dgm:cxn modelId="{17B36868-A8C9-42DA-A0A6-F8C7366087D9}" type="presOf" srcId="{F19DA64A-2C03-41E5-ADAA-C978F94A0AE1}" destId="{6A8D4F1F-5512-45A1-AD1D-4E159C394BA1}" srcOrd="0" destOrd="0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ACAFA110-2D3F-4DC6-86A5-D748DD918B8A}" type="presOf" srcId="{80CFA889-5351-4E28-8BE6-43BFAEE53451}" destId="{A0B49DD0-19A1-41EF-B0F5-8C14CBAC079E}" srcOrd="1" destOrd="1" presId="urn:microsoft.com/office/officeart/2005/8/layout/hProcess4"/>
    <dgm:cxn modelId="{885C9853-9376-4A7B-82D5-93A725E0D1B2}" type="presOf" srcId="{D9B18B51-5DB5-45F7-8D85-19BFDAE7EE70}" destId="{A0B49DD0-19A1-41EF-B0F5-8C14CBAC079E}" srcOrd="1" destOrd="0" presId="urn:microsoft.com/office/officeart/2005/8/layout/hProcess4"/>
    <dgm:cxn modelId="{5920FC48-1418-4E9A-9E12-DA61FE62E761}" type="presOf" srcId="{60742F7F-B628-4896-B2D0-A5635FF38DF0}" destId="{7B116376-1966-411C-8846-0B561668FA8A}" srcOrd="0" destOrd="0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BB624F50-1703-4F1B-A3A8-96D438ACBB54}" type="presOf" srcId="{9292FFF5-4783-4EB6-B7AC-0DEA0D632D0D}" destId="{7B116376-1966-411C-8846-0B561668FA8A}" srcOrd="0" destOrd="2" presId="urn:microsoft.com/office/officeart/2005/8/layout/hProcess4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639EF981-0CEB-403C-B805-60DA56854E6B}" type="presOf" srcId="{3E636A7F-0F49-4561-9ECD-DBBDC8F2B2C1}" destId="{2DC0960C-FE4F-461C-84F2-224DD3FDDD85}" srcOrd="1" destOrd="0" presId="urn:microsoft.com/office/officeart/2005/8/layout/hProcess4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18E22C0D-E630-430F-B90B-2148C93F1B13}" type="presOf" srcId="{3E636A7F-0F49-4561-9ECD-DBBDC8F2B2C1}" destId="{21AC5FF7-1AAA-4C2C-962E-B3C6EE613243}" srcOrd="0" destOrd="0" presId="urn:microsoft.com/office/officeart/2005/8/layout/hProcess4"/>
    <dgm:cxn modelId="{00CC0448-D736-46E6-B6DF-DF3604FF9D8C}" type="presOf" srcId="{B8CBAB91-7886-47B2-AD4A-8B98871644A2}" destId="{FBE99C35-5B44-4C8B-B0F9-D14622292693}" srcOrd="1" destOrd="1" presId="urn:microsoft.com/office/officeart/2005/8/layout/hProcess4"/>
    <dgm:cxn modelId="{CE70C49E-FDB8-4E17-ADE8-01DC6FA9939C}" type="presOf" srcId="{E6116EAE-791A-4FBB-9940-10479BAC3D3E}" destId="{2DC0960C-FE4F-461C-84F2-224DD3FDDD85}" srcOrd="1" destOrd="1" presId="urn:microsoft.com/office/officeart/2005/8/layout/hProcess4"/>
    <dgm:cxn modelId="{F45AA26D-E1F1-4815-8C8F-23B83A2A7816}" type="presOf" srcId="{9787083E-A30F-4E27-92D4-E96F8A4B707E}" destId="{1A97D153-61A1-4F22-9B68-9BB314807883}" srcOrd="0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6975A33A-3CBB-424A-B05A-CD5B1C4CF180}" type="presOf" srcId="{19F480E7-F1A0-4DE0-8978-074DED21D435}" destId="{E99699DA-C282-434C-8D58-B6E86BFB4860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850B65EF-1588-4BA5-A9B8-83ED7E80037A}" type="presOf" srcId="{02FC5717-8F33-435C-A443-4125A6E60485}" destId="{5439EF25-BEDD-4B5A-B567-E1403F8FEB8E}" srcOrd="0" destOrd="0" presId="urn:microsoft.com/office/officeart/2005/8/layout/hProcess4"/>
    <dgm:cxn modelId="{1CB6FA95-8E8B-4FEC-835D-95F5D511EB5A}" type="presOf" srcId="{1D29E8D6-45C4-4766-9EE2-39073334B914}" destId="{5ED272A9-E92B-4719-96E4-A334C871DDEB}" srcOrd="0" destOrd="0" presId="urn:microsoft.com/office/officeart/2005/8/layout/hProcess4"/>
    <dgm:cxn modelId="{14330130-4390-4ED9-A9B4-DCBCEC16AF3A}" type="presOf" srcId="{80CFA889-5351-4E28-8BE6-43BFAEE53451}" destId="{FC4C6030-747E-48FD-A592-CF6DDA7519A4}" srcOrd="0" destOrd="1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15312687-BFD5-4A72-9238-BE05373B2DE3}" type="presOf" srcId="{B8CBAB91-7886-47B2-AD4A-8B98871644A2}" destId="{7B116376-1966-411C-8846-0B561668FA8A}" srcOrd="0" destOrd="1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BDA69D7E-875E-4802-BF85-3B26E33A6A64}" type="presOf" srcId="{27B51D99-7A94-4E76-A341-80356EB4A05F}" destId="{21AC5FF7-1AAA-4C2C-962E-B3C6EE613243}" srcOrd="0" destOrd="3" presId="urn:microsoft.com/office/officeart/2005/8/layout/hProcess4"/>
    <dgm:cxn modelId="{96D360E5-CE41-437F-A42B-6D743EA7FAD3}" type="presOf" srcId="{60742F7F-B628-4896-B2D0-A5635FF38DF0}" destId="{FBE99C35-5B44-4C8B-B0F9-D14622292693}" srcOrd="1" destOrd="0" presId="urn:microsoft.com/office/officeart/2005/8/layout/hProcess4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DBA86523-A997-433B-943A-5F9519B87445}" type="presParOf" srcId="{6A8D4F1F-5512-45A1-AD1D-4E159C394BA1}" destId="{CCD9565E-1852-4360-A641-BE1DC38AC425}" srcOrd="0" destOrd="0" presId="urn:microsoft.com/office/officeart/2005/8/layout/hProcess4"/>
    <dgm:cxn modelId="{8E776D9E-6574-4CFB-9A1F-16773D82BC47}" type="presParOf" srcId="{6A8D4F1F-5512-45A1-AD1D-4E159C394BA1}" destId="{753F4ABC-934F-494A-B25B-D9B14B57463C}" srcOrd="1" destOrd="0" presId="urn:microsoft.com/office/officeart/2005/8/layout/hProcess4"/>
    <dgm:cxn modelId="{11B71A2B-71F4-497E-B722-1D8A6F86AF7D}" type="presParOf" srcId="{6A8D4F1F-5512-45A1-AD1D-4E159C394BA1}" destId="{1FA998D9-8B6E-488B-ACC6-F55F325F0DC2}" srcOrd="2" destOrd="0" presId="urn:microsoft.com/office/officeart/2005/8/layout/hProcess4"/>
    <dgm:cxn modelId="{66E4EFD6-48B4-4B3A-BF33-7FBD3CE7D637}" type="presParOf" srcId="{1FA998D9-8B6E-488B-ACC6-F55F325F0DC2}" destId="{8914166E-3DD8-47F8-AA1D-B53368C7A82D}" srcOrd="0" destOrd="0" presId="urn:microsoft.com/office/officeart/2005/8/layout/hProcess4"/>
    <dgm:cxn modelId="{C2DC8045-DA11-4585-B681-D66EDEC7B665}" type="presParOf" srcId="{8914166E-3DD8-47F8-AA1D-B53368C7A82D}" destId="{736A157F-6561-4D5B-8408-E189E88281F2}" srcOrd="0" destOrd="0" presId="urn:microsoft.com/office/officeart/2005/8/layout/hProcess4"/>
    <dgm:cxn modelId="{F9BB8545-874B-40A3-BBF4-65C8E11D3AB0}" type="presParOf" srcId="{8914166E-3DD8-47F8-AA1D-B53368C7A82D}" destId="{FC4C6030-747E-48FD-A592-CF6DDA7519A4}" srcOrd="1" destOrd="0" presId="urn:microsoft.com/office/officeart/2005/8/layout/hProcess4"/>
    <dgm:cxn modelId="{C4E7B29C-CD83-4970-AF49-EAC6A57CAD77}" type="presParOf" srcId="{8914166E-3DD8-47F8-AA1D-B53368C7A82D}" destId="{A0B49DD0-19A1-41EF-B0F5-8C14CBAC079E}" srcOrd="2" destOrd="0" presId="urn:microsoft.com/office/officeart/2005/8/layout/hProcess4"/>
    <dgm:cxn modelId="{BF3B9EB8-B1EC-4CCD-86BF-ACCC21EED5AD}" type="presParOf" srcId="{8914166E-3DD8-47F8-AA1D-B53368C7A82D}" destId="{5ED272A9-E92B-4719-96E4-A334C871DDEB}" srcOrd="3" destOrd="0" presId="urn:microsoft.com/office/officeart/2005/8/layout/hProcess4"/>
    <dgm:cxn modelId="{6288355E-8864-4DBB-8DEC-6551B03C2586}" type="presParOf" srcId="{8914166E-3DD8-47F8-AA1D-B53368C7A82D}" destId="{6AC715AD-8C45-45B6-98E6-935CC74C611D}" srcOrd="4" destOrd="0" presId="urn:microsoft.com/office/officeart/2005/8/layout/hProcess4"/>
    <dgm:cxn modelId="{593F4243-9AE0-441F-BC77-B070504DCD4C}" type="presParOf" srcId="{1FA998D9-8B6E-488B-ACC6-F55F325F0DC2}" destId="{5439EF25-BEDD-4B5A-B567-E1403F8FEB8E}" srcOrd="1" destOrd="0" presId="urn:microsoft.com/office/officeart/2005/8/layout/hProcess4"/>
    <dgm:cxn modelId="{70F220DA-33DC-449E-BDCF-178E134DA4D1}" type="presParOf" srcId="{1FA998D9-8B6E-488B-ACC6-F55F325F0DC2}" destId="{D2B376CC-0DB2-4366-A247-DA9A20DC3EEE}" srcOrd="2" destOrd="0" presId="urn:microsoft.com/office/officeart/2005/8/layout/hProcess4"/>
    <dgm:cxn modelId="{CE84A98D-94DB-46BA-81CD-4A39DF475513}" type="presParOf" srcId="{D2B376CC-0DB2-4366-A247-DA9A20DC3EEE}" destId="{3A589F14-FD66-4AB0-9E4A-3100F9FD4128}" srcOrd="0" destOrd="0" presId="urn:microsoft.com/office/officeart/2005/8/layout/hProcess4"/>
    <dgm:cxn modelId="{38D7743D-F55E-4F47-A2C9-D64D5A5918AE}" type="presParOf" srcId="{D2B376CC-0DB2-4366-A247-DA9A20DC3EEE}" destId="{7B116376-1966-411C-8846-0B561668FA8A}" srcOrd="1" destOrd="0" presId="urn:microsoft.com/office/officeart/2005/8/layout/hProcess4"/>
    <dgm:cxn modelId="{901BB90F-89FC-4CD5-BB90-BE9283A1422C}" type="presParOf" srcId="{D2B376CC-0DB2-4366-A247-DA9A20DC3EEE}" destId="{FBE99C35-5B44-4C8B-B0F9-D14622292693}" srcOrd="2" destOrd="0" presId="urn:microsoft.com/office/officeart/2005/8/layout/hProcess4"/>
    <dgm:cxn modelId="{7C2FCB7B-EB05-42E9-9EE6-FF77F7725C75}" type="presParOf" srcId="{D2B376CC-0DB2-4366-A247-DA9A20DC3EEE}" destId="{1A97D153-61A1-4F22-9B68-9BB314807883}" srcOrd="3" destOrd="0" presId="urn:microsoft.com/office/officeart/2005/8/layout/hProcess4"/>
    <dgm:cxn modelId="{04906CA0-05D7-4B0A-A59B-0220BBE41F64}" type="presParOf" srcId="{D2B376CC-0DB2-4366-A247-DA9A20DC3EEE}" destId="{BBCCE621-BDDB-4947-890B-BA7E088A1A65}" srcOrd="4" destOrd="0" presId="urn:microsoft.com/office/officeart/2005/8/layout/hProcess4"/>
    <dgm:cxn modelId="{CD4FBCB8-5845-49D5-8E77-1DD48144F218}" type="presParOf" srcId="{1FA998D9-8B6E-488B-ACC6-F55F325F0DC2}" destId="{6861BCAD-DE42-4BC1-ACF4-14F23BA682BF}" srcOrd="3" destOrd="0" presId="urn:microsoft.com/office/officeart/2005/8/layout/hProcess4"/>
    <dgm:cxn modelId="{DC4BBAD3-7B2E-4B33-9BCE-AE7639E28278}" type="presParOf" srcId="{1FA998D9-8B6E-488B-ACC6-F55F325F0DC2}" destId="{0A91573E-A7A7-4CBB-8BCA-A62335804491}" srcOrd="4" destOrd="0" presId="urn:microsoft.com/office/officeart/2005/8/layout/hProcess4"/>
    <dgm:cxn modelId="{C7AA3A8C-6494-4822-B2A1-E934A2508879}" type="presParOf" srcId="{0A91573E-A7A7-4CBB-8BCA-A62335804491}" destId="{35BF2434-D120-4F1E-91B4-19C267CD210F}" srcOrd="0" destOrd="0" presId="urn:microsoft.com/office/officeart/2005/8/layout/hProcess4"/>
    <dgm:cxn modelId="{537FD2AE-E9C1-4024-8AB8-4266C3CB6D89}" type="presParOf" srcId="{0A91573E-A7A7-4CBB-8BCA-A62335804491}" destId="{21AC5FF7-1AAA-4C2C-962E-B3C6EE613243}" srcOrd="1" destOrd="0" presId="urn:microsoft.com/office/officeart/2005/8/layout/hProcess4"/>
    <dgm:cxn modelId="{481EF2D5-CB95-4C85-8BD1-05A6C006F662}" type="presParOf" srcId="{0A91573E-A7A7-4CBB-8BCA-A62335804491}" destId="{2DC0960C-FE4F-461C-84F2-224DD3FDDD85}" srcOrd="2" destOrd="0" presId="urn:microsoft.com/office/officeart/2005/8/layout/hProcess4"/>
    <dgm:cxn modelId="{9A737644-99DD-4985-9A0A-B833C57E5DA8}" type="presParOf" srcId="{0A91573E-A7A7-4CBB-8BCA-A62335804491}" destId="{E99699DA-C282-434C-8D58-B6E86BFB4860}" srcOrd="3" destOrd="0" presId="urn:microsoft.com/office/officeart/2005/8/layout/hProcess4"/>
    <dgm:cxn modelId="{211BBC34-A13F-4544-AE83-63E204DAE732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89E611F-C6B4-4993-BFDF-BF2C50A307F5}" type="presOf" srcId="{D14807FD-294C-4482-91EE-34C09B13669A}" destId="{BCE275B7-D1E9-4183-BABE-507E54E1C931}" srcOrd="0" destOrd="0" presId="urn:microsoft.com/office/officeart/2005/8/layout/chevron1"/>
    <dgm:cxn modelId="{548E0D96-6906-4513-B6C3-1226FEFB4FE0}" type="presOf" srcId="{F351D095-D2C1-4F62-A18D-EFB4BA6E2AA9}" destId="{6BF66C9A-92D4-481D-A538-FD1A4E3DC0D5}" srcOrd="0" destOrd="0" presId="urn:microsoft.com/office/officeart/2005/8/layout/chevron1"/>
    <dgm:cxn modelId="{CD552879-7A6D-4988-AFAD-90BC9E8D0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439EA419-0328-4E61-AA67-575191DA9DCE}" type="presOf" srcId="{EB61DA86-9B86-4759-822E-DA32F7AA073E}" destId="{135DB1F4-89C2-4733-9521-42FD5CECF10C}" srcOrd="0" destOrd="0" presId="urn:microsoft.com/office/officeart/2005/8/layout/chevron1"/>
    <dgm:cxn modelId="{75A56AA4-2B58-456C-859F-220D054AADE4}" type="presParOf" srcId="{0AECE453-CE2A-473C-BD27-70D00DA5B95C}" destId="{135DB1F4-89C2-4733-9521-42FD5CECF10C}" srcOrd="0" destOrd="0" presId="urn:microsoft.com/office/officeart/2005/8/layout/chevron1"/>
    <dgm:cxn modelId="{C0C4FE19-E0A0-4B5F-A07A-E7DB379FEB34}" type="presParOf" srcId="{0AECE453-CE2A-473C-BD27-70D00DA5B95C}" destId="{E1C76734-9ABE-473C-AD4C-C4BF49F91E97}" srcOrd="1" destOrd="0" presId="urn:microsoft.com/office/officeart/2005/8/layout/chevron1"/>
    <dgm:cxn modelId="{175BD0C9-1FBB-4EDD-9782-A3732CB6ACAD}" type="presParOf" srcId="{0AECE453-CE2A-473C-BD27-70D00DA5B95C}" destId="{6BF66C9A-92D4-481D-A538-FD1A4E3DC0D5}" srcOrd="2" destOrd="0" presId="urn:microsoft.com/office/officeart/2005/8/layout/chevron1"/>
    <dgm:cxn modelId="{C2F8B8B2-C245-4D78-9E68-6EE4DA8C9D79}" type="presParOf" srcId="{0AECE453-CE2A-473C-BD27-70D00DA5B95C}" destId="{691CB221-7DD5-49BE-AC21-301798066F30}" srcOrd="3" destOrd="0" presId="urn:microsoft.com/office/officeart/2005/8/layout/chevron1"/>
    <dgm:cxn modelId="{C9032670-3B88-4141-B3F5-0995335709F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A967A73-5475-4111-BAF0-3BA756CCABFD}" type="presOf" srcId="{D14807FD-294C-4482-91EE-34C09B13669A}" destId="{BCE275B7-D1E9-4183-BABE-507E54E1C931}" srcOrd="0" destOrd="0" presId="urn:microsoft.com/office/officeart/2005/8/layout/chevron1"/>
    <dgm:cxn modelId="{9BA9DA24-0DF4-4C22-9001-8C555A25BDD0}" type="presOf" srcId="{F351D095-D2C1-4F62-A18D-EFB4BA6E2AA9}" destId="{6BF66C9A-92D4-481D-A538-FD1A4E3DC0D5}" srcOrd="0" destOrd="0" presId="urn:microsoft.com/office/officeart/2005/8/layout/chevron1"/>
    <dgm:cxn modelId="{E2743FD6-9E2E-4227-8EA8-ED8933234ED7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52AA5A2-6D1F-4F6C-8230-1B1DAC5D8798}" type="presOf" srcId="{9C869D94-BD20-4CF6-9CAA-58E706B950F6}" destId="{0AECE453-CE2A-473C-BD27-70D00DA5B95C}" srcOrd="0" destOrd="0" presId="urn:microsoft.com/office/officeart/2005/8/layout/chevron1"/>
    <dgm:cxn modelId="{10B9C396-8C8F-4798-A4D3-9EB47A1D2AD3}" type="presParOf" srcId="{0AECE453-CE2A-473C-BD27-70D00DA5B95C}" destId="{135DB1F4-89C2-4733-9521-42FD5CECF10C}" srcOrd="0" destOrd="0" presId="urn:microsoft.com/office/officeart/2005/8/layout/chevron1"/>
    <dgm:cxn modelId="{8D8EF9F3-522C-4013-B04C-E036708D4008}" type="presParOf" srcId="{0AECE453-CE2A-473C-BD27-70D00DA5B95C}" destId="{E1C76734-9ABE-473C-AD4C-C4BF49F91E97}" srcOrd="1" destOrd="0" presId="urn:microsoft.com/office/officeart/2005/8/layout/chevron1"/>
    <dgm:cxn modelId="{BE454BA5-88E2-452C-8EFD-4DD7FE5BC513}" type="presParOf" srcId="{0AECE453-CE2A-473C-BD27-70D00DA5B95C}" destId="{6BF66C9A-92D4-481D-A538-FD1A4E3DC0D5}" srcOrd="2" destOrd="0" presId="urn:microsoft.com/office/officeart/2005/8/layout/chevron1"/>
    <dgm:cxn modelId="{65BD160E-AB91-42B2-8469-5C0614E51BF0}" type="presParOf" srcId="{0AECE453-CE2A-473C-BD27-70D00DA5B95C}" destId="{691CB221-7DD5-49BE-AC21-301798066F30}" srcOrd="3" destOrd="0" presId="urn:microsoft.com/office/officeart/2005/8/layout/chevron1"/>
    <dgm:cxn modelId="{2C191F2D-41F5-4285-A433-4F942E43207E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200" b="1" u="sng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e.pinterest.com/pin/556053885218068326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79918483-C48A-47F2-A21D-29D2BB913BEB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0FFBD89-49B9-4069-81F1-097C74800E54}" type="parTrans" cxnId="{B753EDE4-6606-444C-92A1-48920489C5D0}">
      <dgm:prSet/>
      <dgm:spPr/>
      <dgm:t>
        <a:bodyPr/>
        <a:lstStyle/>
        <a:p>
          <a:endParaRPr lang="de-DE"/>
        </a:p>
      </dgm:t>
    </dgm:pt>
    <dgm:pt modelId="{01ED358E-5654-4BD3-B27A-41DD48B37DFD}" type="sibTrans" cxnId="{B753EDE4-6606-444C-92A1-48920489C5D0}">
      <dgm:prSet/>
      <dgm:spPr/>
      <dgm:t>
        <a:bodyPr/>
        <a:lstStyle/>
        <a:p>
          <a:endParaRPr lang="de-DE"/>
        </a:p>
      </dgm:t>
    </dgm:pt>
    <dgm:pt modelId="{2A22049B-0297-404C-8E1A-A020901477AE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10993FF-E015-4EEE-B460-EA0374222C5E}" type="parTrans" cxnId="{648D91D6-7D28-4844-B23A-07B0F7529F4D}">
      <dgm:prSet/>
      <dgm:spPr/>
      <dgm:t>
        <a:bodyPr/>
        <a:lstStyle/>
        <a:p>
          <a:endParaRPr lang="de-DE"/>
        </a:p>
      </dgm:t>
    </dgm:pt>
    <dgm:pt modelId="{6A997F21-2534-4004-A40E-DFB891E346D3}" type="sibTrans" cxnId="{648D91D6-7D28-4844-B23A-07B0F7529F4D}">
      <dgm:prSet/>
      <dgm:spPr/>
      <dgm:t>
        <a:bodyPr/>
        <a:lstStyle/>
        <a:p>
          <a:endParaRPr lang="de-DE"/>
        </a:p>
      </dgm:t>
    </dgm:pt>
    <dgm:pt modelId="{8A87AB47-06FA-4B1B-8726-ED9B70DF5FE9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://webneel.com/daily/creative-drawing-jennifer-tjorvi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E790E46-46A3-4908-BFCE-3F0017379B9D}" type="parTrans" cxnId="{C22F373C-3CE0-43C2-AFDE-CF4A073A7723}">
      <dgm:prSet/>
      <dgm:spPr/>
      <dgm:t>
        <a:bodyPr/>
        <a:lstStyle/>
        <a:p>
          <a:endParaRPr lang="de-DE"/>
        </a:p>
      </dgm:t>
    </dgm:pt>
    <dgm:pt modelId="{BAAD97AF-6BA3-4F35-B1C6-4C1829DAED96}" type="sibTrans" cxnId="{C22F373C-3CE0-43C2-AFDE-CF4A073A7723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5830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53655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63166064-2D97-4B3D-BCCB-3A105B7AD3E6}" type="presOf" srcId="{66A47BEE-44D0-440B-B85C-198E7A95CF52}" destId="{135D980B-F227-4000-9869-2D5A8FA31B13}" srcOrd="0" destOrd="1" presId="urn:microsoft.com/office/officeart/2005/8/layout/vList2"/>
    <dgm:cxn modelId="{B0B4E84C-B159-42F6-9EEF-1119516064FD}" type="presOf" srcId="{79918483-C48A-47F2-A21D-29D2BB913BEB}" destId="{135D980B-F227-4000-9869-2D5A8FA31B13}" srcOrd="0" destOrd="0" presId="urn:microsoft.com/office/officeart/2005/8/layout/vList2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FD3D13A5-A8DC-4982-BA2B-D4DA2120CFBA}" type="presOf" srcId="{0B24C4BC-DF72-480E-8AB6-A33062368E30}" destId="{BF5A6700-E73A-4C76-AB30-5E258848545C}" srcOrd="0" destOrd="6" presId="urn:microsoft.com/office/officeart/2005/8/layout/vList2"/>
    <dgm:cxn modelId="{B753EDE4-6606-444C-92A1-48920489C5D0}" srcId="{95A4E54D-3F39-4278-81F6-EA35748A6217}" destId="{79918483-C48A-47F2-A21D-29D2BB913BEB}" srcOrd="0" destOrd="0" parTransId="{30FFBD89-49B9-4069-81F1-097C74800E54}" sibTransId="{01ED358E-5654-4BD3-B27A-41DD48B37DFD}"/>
    <dgm:cxn modelId="{C22F373C-3CE0-43C2-AFDE-CF4A073A7723}" srcId="{26BE7C14-7621-4829-8FDB-F54722BBB351}" destId="{8A87AB47-06FA-4B1B-8726-ED9B70DF5FE9}" srcOrd="5" destOrd="0" parTransId="{EE790E46-46A3-4908-BFCE-3F0017379B9D}" sibTransId="{BAAD97AF-6BA3-4F35-B1C6-4C1829DAED96}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7" destOrd="0" parTransId="{FA9F51E1-E9BF-444F-A668-EAC439FE3E78}" sibTransId="{5B43BC6A-DF01-4FDE-BABD-1F03D1D66CF3}"/>
    <dgm:cxn modelId="{A5DCB8E6-7357-49BD-A36C-36E434CE89C7}" srcId="{95A4E54D-3F39-4278-81F6-EA35748A6217}" destId="{66A47BEE-44D0-440B-B85C-198E7A95CF52}" srcOrd="1" destOrd="0" parTransId="{EDA9556E-EEF3-4B7F-B6AE-F66FD3B23CBC}" sibTransId="{69770DE9-171F-4538-A067-95741B85D405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48D91D6-7D28-4844-B23A-07B0F7529F4D}" srcId="{26BE7C14-7621-4829-8FDB-F54722BBB351}" destId="{2A22049B-0297-404C-8E1A-A020901477AE}" srcOrd="0" destOrd="0" parTransId="{110993FF-E015-4EEE-B460-EA0374222C5E}" sibTransId="{6A997F21-2534-4004-A40E-DFB891E346D3}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284EAF84-120C-49FF-A71E-493BCB5C85F7}" type="presOf" srcId="{C34FF5A3-0623-4FBA-9C19-83FF46932954}" destId="{BF5A6700-E73A-4C76-AB30-5E258848545C}" srcOrd="0" destOrd="7" presId="urn:microsoft.com/office/officeart/2005/8/layout/vList2"/>
    <dgm:cxn modelId="{1592CEFF-759F-47C3-B8FC-B536F47F4A69}" type="presOf" srcId="{2A22049B-0297-404C-8E1A-A020901477AE}" destId="{BF5A6700-E73A-4C76-AB30-5E258848545C}" srcOrd="0" destOrd="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8C69121B-0B70-42D8-9C09-5069F1A9B64A}" type="presOf" srcId="{8A87AB47-06FA-4B1B-8726-ED9B70DF5FE9}" destId="{BF5A6700-E73A-4C76-AB30-5E258848545C}" srcOrd="0" destOrd="5" presId="urn:microsoft.com/office/officeart/2005/8/layout/vList2"/>
    <dgm:cxn modelId="{9DAEB52A-1612-4427-9BC6-80AC9034B783}" srcId="{26BE7C14-7621-4829-8FDB-F54722BBB351}" destId="{0B24C4BC-DF72-480E-8AB6-A33062368E30}" srcOrd="6" destOrd="0" parTransId="{DD360B71-6DAB-490D-B4ED-D8E5A7019C94}" sibTransId="{9F80740D-813B-4BC7-B009-0F2196BEC139}"/>
    <dgm:cxn modelId="{28863114-B43B-4EC7-8C48-B65AC1AD64CE}" type="presOf" srcId="{45ED6F3A-DA35-479A-954B-3B88A6823D5B}" destId="{BF5A6700-E73A-4C76-AB30-5E258848545C}" srcOrd="0" destOrd="8" presId="urn:microsoft.com/office/officeart/2005/8/layout/vList2"/>
    <dgm:cxn modelId="{94F7B1E3-59A8-470D-8100-AE3B6B567204}" srcId="{26BE7C14-7621-4829-8FDB-F54722BBB351}" destId="{45ED6F3A-DA35-479A-954B-3B88A6823D5B}" srcOrd="8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A0BE235-7F30-45E6-8652-1DF06B99A8F4}" type="presOf" srcId="{D14807FD-294C-4482-91EE-34C09B13669A}" destId="{BCE275B7-D1E9-4183-BABE-507E54E1C931}" srcOrd="0" destOrd="0" presId="urn:microsoft.com/office/officeart/2005/8/layout/chevron1"/>
    <dgm:cxn modelId="{27A3E0F2-0C78-48FC-B3C8-9BC26E24C3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C0477DC-03B9-46A7-87D6-55931B87CFE2}" type="presOf" srcId="{9C869D94-BD20-4CF6-9CAA-58E706B950F6}" destId="{0AECE453-CE2A-473C-BD27-70D00DA5B95C}" srcOrd="0" destOrd="0" presId="urn:microsoft.com/office/officeart/2005/8/layout/chevron1"/>
    <dgm:cxn modelId="{F7B503CA-A6BC-4E72-9C25-B7A2FFD91D87}" type="presOf" srcId="{EB61DA86-9B86-4759-822E-DA32F7AA073E}" destId="{135DB1F4-89C2-4733-9521-42FD5CECF10C}" srcOrd="0" destOrd="0" presId="urn:microsoft.com/office/officeart/2005/8/layout/chevron1"/>
    <dgm:cxn modelId="{A69D111C-1A30-4F3A-BEC2-FC315654328C}" type="presParOf" srcId="{0AECE453-CE2A-473C-BD27-70D00DA5B95C}" destId="{135DB1F4-89C2-4733-9521-42FD5CECF10C}" srcOrd="0" destOrd="0" presId="urn:microsoft.com/office/officeart/2005/8/layout/chevron1"/>
    <dgm:cxn modelId="{4397E1C8-C5FE-481F-A565-537553CF9524}" type="presParOf" srcId="{0AECE453-CE2A-473C-BD27-70D00DA5B95C}" destId="{E1C76734-9ABE-473C-AD4C-C4BF49F91E97}" srcOrd="1" destOrd="0" presId="urn:microsoft.com/office/officeart/2005/8/layout/chevron1"/>
    <dgm:cxn modelId="{66282758-104C-4BBF-A802-6F91DC4458FD}" type="presParOf" srcId="{0AECE453-CE2A-473C-BD27-70D00DA5B95C}" destId="{6BF66C9A-92D4-481D-A538-FD1A4E3DC0D5}" srcOrd="2" destOrd="0" presId="urn:microsoft.com/office/officeart/2005/8/layout/chevron1"/>
    <dgm:cxn modelId="{D5B10A11-D301-46C1-8179-283D0986C7B4}" type="presParOf" srcId="{0AECE453-CE2A-473C-BD27-70D00DA5B95C}" destId="{691CB221-7DD5-49BE-AC21-301798066F30}" srcOrd="3" destOrd="0" presId="urn:microsoft.com/office/officeart/2005/8/layout/chevron1"/>
    <dgm:cxn modelId="{13CC8E01-9EB8-4047-9625-2E81AB11D0E6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58970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65691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1866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5919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341435F7-DA9D-437B-ABFF-C1D49D9F41B7}" type="presOf" srcId="{D889D4D7-F148-4EB9-8DF4-D99F17156C31}" destId="{B5F7D992-9FE3-46DC-88AB-F9FB4EEDF815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E67AA3D3-A6C9-49CE-9E78-355A572FCA3B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2A1B7113-728E-4464-88CF-5286A10C0CB5}" type="presOf" srcId="{920232FB-D65A-4EF7-9D25-565535D2B7DA}" destId="{AD7FD66F-97B2-4B51-A238-AF9A0EDCE041}" srcOrd="0" destOrd="0" presId="urn:microsoft.com/office/officeart/2005/8/layout/pList2"/>
    <dgm:cxn modelId="{99752345-4BA4-4D49-84C8-B826FCCC5079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1E6D01E8-3920-4609-81C5-38B93F6F1A84}" type="presOf" srcId="{6A4CEAD5-33C1-4B18-8EF3-40747A51DB1B}" destId="{10125C33-0F99-4D6A-8CE0-8E8E4B951029}" srcOrd="0" destOrd="0" presId="urn:microsoft.com/office/officeart/2005/8/layout/pList2"/>
    <dgm:cxn modelId="{15716B6E-A52E-4B65-B048-78B8E771BAB6}" type="presOf" srcId="{969C8280-CA1C-4316-8298-8C6DDAB11571}" destId="{E3198BAB-B9C6-4C60-A044-A2B387319D04}" srcOrd="0" destOrd="0" presId="urn:microsoft.com/office/officeart/2005/8/layout/pList2"/>
    <dgm:cxn modelId="{A845314E-DDBD-42D2-8292-D6F9C0B66AF2}" type="presOf" srcId="{A535AB3D-88CF-41BD-9478-1370676E8F79}" destId="{F3EAAE23-5CEE-4B31-8556-F61B9D1B2B74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250C0248-8881-4361-992A-850ED3477DE7}" type="presOf" srcId="{57AC4395-4130-4197-B98E-5BE6C2999B44}" destId="{57ED5118-1790-45B2-817F-82A6638E60D2}" srcOrd="0" destOrd="0" presId="urn:microsoft.com/office/officeart/2005/8/layout/pList2"/>
    <dgm:cxn modelId="{F1D8AB22-41AF-42EB-80F8-C452E2BCF107}" type="presParOf" srcId="{57ED5118-1790-45B2-817F-82A6638E60D2}" destId="{7EBEFCAF-EAB3-44B0-8F9A-87E8C01D6452}" srcOrd="0" destOrd="0" presId="urn:microsoft.com/office/officeart/2005/8/layout/pList2"/>
    <dgm:cxn modelId="{F0AA021C-0745-41B9-AE13-F31D4298A657}" type="presParOf" srcId="{57ED5118-1790-45B2-817F-82A6638E60D2}" destId="{53E74AF1-94FD-412C-BB5A-D4B972D2C4D7}" srcOrd="1" destOrd="0" presId="urn:microsoft.com/office/officeart/2005/8/layout/pList2"/>
    <dgm:cxn modelId="{0D248FD1-5D0C-491B-A272-3C12026AA5D5}" type="presParOf" srcId="{53E74AF1-94FD-412C-BB5A-D4B972D2C4D7}" destId="{8D51302C-F1F5-4217-846D-256B0BEA32B0}" srcOrd="0" destOrd="0" presId="urn:microsoft.com/office/officeart/2005/8/layout/pList2"/>
    <dgm:cxn modelId="{787FA4F1-ACBA-4342-8545-ECCCF4A1CC88}" type="presParOf" srcId="{8D51302C-F1F5-4217-846D-256B0BEA32B0}" destId="{E3198BAB-B9C6-4C60-A044-A2B387319D04}" srcOrd="0" destOrd="0" presId="urn:microsoft.com/office/officeart/2005/8/layout/pList2"/>
    <dgm:cxn modelId="{B5DE8B62-0EC6-4F9E-AF68-220D9C5E9F85}" type="presParOf" srcId="{8D51302C-F1F5-4217-846D-256B0BEA32B0}" destId="{7FBFB193-C70D-4A4B-B4FD-BBADFA80264D}" srcOrd="1" destOrd="0" presId="urn:microsoft.com/office/officeart/2005/8/layout/pList2"/>
    <dgm:cxn modelId="{84E5F8DF-1DAB-4CB3-9D6B-DE0A38622B34}" type="presParOf" srcId="{8D51302C-F1F5-4217-846D-256B0BEA32B0}" destId="{63C34CD1-54D0-4CA7-BB0E-16F028C8DA3A}" srcOrd="2" destOrd="0" presId="urn:microsoft.com/office/officeart/2005/8/layout/pList2"/>
    <dgm:cxn modelId="{E1CD1114-5B2B-4AC2-8491-26B467881526}" type="presParOf" srcId="{53E74AF1-94FD-412C-BB5A-D4B972D2C4D7}" destId="{AD7FD66F-97B2-4B51-A238-AF9A0EDCE041}" srcOrd="1" destOrd="0" presId="urn:microsoft.com/office/officeart/2005/8/layout/pList2"/>
    <dgm:cxn modelId="{EE106A6B-5828-44DC-9B4F-7FFD7291A2F0}" type="presParOf" srcId="{53E74AF1-94FD-412C-BB5A-D4B972D2C4D7}" destId="{9C4F6DD4-523F-4F88-A650-1200F5AC438C}" srcOrd="2" destOrd="0" presId="urn:microsoft.com/office/officeart/2005/8/layout/pList2"/>
    <dgm:cxn modelId="{ACC718F3-50F8-4109-9DBF-0696DACDE81C}" type="presParOf" srcId="{9C4F6DD4-523F-4F88-A650-1200F5AC438C}" destId="{7BF23177-841A-4D1D-855E-251E8943525E}" srcOrd="0" destOrd="0" presId="urn:microsoft.com/office/officeart/2005/8/layout/pList2"/>
    <dgm:cxn modelId="{6C3E441C-BBEB-4F47-B8D1-C9FFFE7F7E9A}" type="presParOf" srcId="{9C4F6DD4-523F-4F88-A650-1200F5AC438C}" destId="{ED19007D-6494-4F10-8675-353F3CDFBEC4}" srcOrd="1" destOrd="0" presId="urn:microsoft.com/office/officeart/2005/8/layout/pList2"/>
    <dgm:cxn modelId="{AD7791EB-FABB-4AA2-A92F-B18203D7B087}" type="presParOf" srcId="{9C4F6DD4-523F-4F88-A650-1200F5AC438C}" destId="{D3FD648B-60E4-4029-9DA6-BE2B4D2B4CBF}" srcOrd="2" destOrd="0" presId="urn:microsoft.com/office/officeart/2005/8/layout/pList2"/>
    <dgm:cxn modelId="{09FEB971-BEDE-477D-9FE1-ECABF2FF9665}" type="presParOf" srcId="{53E74AF1-94FD-412C-BB5A-D4B972D2C4D7}" destId="{B5F7D992-9FE3-46DC-88AB-F9FB4EEDF815}" srcOrd="3" destOrd="0" presId="urn:microsoft.com/office/officeart/2005/8/layout/pList2"/>
    <dgm:cxn modelId="{8071B9EC-35FC-41DA-8B45-908390D9D6F8}" type="presParOf" srcId="{53E74AF1-94FD-412C-BB5A-D4B972D2C4D7}" destId="{ABBBC5E0-5AE2-4A45-9F0B-A6FB5071F795}" srcOrd="4" destOrd="0" presId="urn:microsoft.com/office/officeart/2005/8/layout/pList2"/>
    <dgm:cxn modelId="{4745B939-651E-4DFE-9BCF-2991B5C73FFC}" type="presParOf" srcId="{ABBBC5E0-5AE2-4A45-9F0B-A6FB5071F795}" destId="{C8B8A4A8-AC36-4440-ABC0-A80F7A3FC7A9}" srcOrd="0" destOrd="0" presId="urn:microsoft.com/office/officeart/2005/8/layout/pList2"/>
    <dgm:cxn modelId="{D9089AF0-1082-48D8-B544-E1FDD02741BC}" type="presParOf" srcId="{ABBBC5E0-5AE2-4A45-9F0B-A6FB5071F795}" destId="{9716FF06-87E2-4961-82EE-50D39560AFCA}" srcOrd="1" destOrd="0" presId="urn:microsoft.com/office/officeart/2005/8/layout/pList2"/>
    <dgm:cxn modelId="{010992B0-A4DD-4527-8CF7-E5CC86727732}" type="presParOf" srcId="{ABBBC5E0-5AE2-4A45-9F0B-A6FB5071F795}" destId="{A6AC8A74-F87C-4B02-9448-DDBB12841FDC}" srcOrd="2" destOrd="0" presId="urn:microsoft.com/office/officeart/2005/8/layout/pList2"/>
    <dgm:cxn modelId="{5A1FB093-2B4A-4781-9A52-1BD58EEBFFFC}" type="presParOf" srcId="{53E74AF1-94FD-412C-BB5A-D4B972D2C4D7}" destId="{10125C33-0F99-4D6A-8CE0-8E8E4B951029}" srcOrd="5" destOrd="0" presId="urn:microsoft.com/office/officeart/2005/8/layout/pList2"/>
    <dgm:cxn modelId="{CA13DEE3-5474-463C-9F59-609171C9889E}" type="presParOf" srcId="{53E74AF1-94FD-412C-BB5A-D4B972D2C4D7}" destId="{403CD47D-6636-491B-AF96-CADA11F2DB13}" srcOrd="6" destOrd="0" presId="urn:microsoft.com/office/officeart/2005/8/layout/pList2"/>
    <dgm:cxn modelId="{0D6C3B44-2848-4EB7-999B-1A51B0184732}" type="presParOf" srcId="{403CD47D-6636-491B-AF96-CADA11F2DB13}" destId="{F3EAAE23-5CEE-4B31-8556-F61B9D1B2B74}" srcOrd="0" destOrd="0" presId="urn:microsoft.com/office/officeart/2005/8/layout/pList2"/>
    <dgm:cxn modelId="{90D44770-486C-4653-AEB0-6435FFB52B67}" type="presParOf" srcId="{403CD47D-6636-491B-AF96-CADA11F2DB13}" destId="{3AB93904-F244-4777-B4DF-2E0D13BCFB74}" srcOrd="1" destOrd="0" presId="urn:microsoft.com/office/officeart/2005/8/layout/pList2"/>
    <dgm:cxn modelId="{B56C42AE-1C3E-4B1A-9053-5686CF1AED58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D79CBB4-2577-41C7-AE1A-2973730189E0}" type="presOf" srcId="{8C253FF5-4B38-46AA-9604-5740D538721B}" destId="{36EDF564-50E4-47F9-8DB5-BE5E735EFF0D}" srcOrd="1" destOrd="0" presId="urn:microsoft.com/office/officeart/2005/8/layout/list1"/>
    <dgm:cxn modelId="{BDCF0F9A-9C1E-4E26-99C8-363FBCD7875B}" type="presOf" srcId="{3C07000C-9F24-45B6-AE25-D54ADF954BCD}" destId="{9BB4A022-7BE9-4D96-9DCD-74C58E8AC746}" srcOrd="0" destOrd="0" presId="urn:microsoft.com/office/officeart/2005/8/layout/list1"/>
    <dgm:cxn modelId="{4C87F659-9BAE-48C4-A861-5EE7E3CF29CA}" type="presOf" srcId="{601AD484-C774-4133-8EDD-E25DC144CF18}" destId="{1D380A2A-1436-4BC6-9682-4A6F1756B36A}" srcOrd="0" destOrd="0" presId="urn:microsoft.com/office/officeart/2005/8/layout/list1"/>
    <dgm:cxn modelId="{3F8995CE-37C4-4120-AE15-1CCF01FE7A30}" type="presOf" srcId="{4025DB9A-0ED1-4F00-BB3A-1E38CF3525C6}" destId="{2CFFDFEA-2A6E-4B3D-970A-80A69C636168}" srcOrd="0" destOrd="0" presId="urn:microsoft.com/office/officeart/2005/8/layout/list1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75B58117-4063-4353-8CF9-C77730890520}" type="presOf" srcId="{6417D77C-5D52-4157-A3FC-E8833CB22090}" destId="{148A2150-C136-4328-AEF5-922C2C3CE943}" srcOrd="0" destOrd="1" presId="urn:microsoft.com/office/officeart/2005/8/layout/list1"/>
    <dgm:cxn modelId="{453F4E19-C1A9-4F7B-AB68-33DD5A27DF68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D2DDC43F-5717-4A6B-A664-B541EC100A4A}" type="presOf" srcId="{FDA67156-A2DC-4DC5-9306-7EDD41ECDE29}" destId="{1D380A2A-1436-4BC6-9682-4A6F1756B36A}" srcOrd="0" destOrd="2" presId="urn:microsoft.com/office/officeart/2005/8/layout/list1"/>
    <dgm:cxn modelId="{4466AE42-9562-4D4B-A462-4015CB7A5CEE}" type="presOf" srcId="{2145B9AC-3DB4-49BD-8B9D-67935175CE51}" destId="{858BC837-E5A9-4C97-BB1B-4A6AFF7AC6A1}" srcOrd="0" destOrd="0" presId="urn:microsoft.com/office/officeart/2005/8/layout/list1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8AA7A17A-38B0-4E04-803D-940A83AB8B3A}" type="presOf" srcId="{4025DB9A-0ED1-4F00-BB3A-1E38CF3525C6}" destId="{BA975037-BE6C-4B32-8DBF-C84C73617461}" srcOrd="1" destOrd="0" presId="urn:microsoft.com/office/officeart/2005/8/layout/list1"/>
    <dgm:cxn modelId="{01A55361-EB1D-4B79-AA16-B489B7487A9C}" type="presOf" srcId="{A78A4A3F-9887-4D76-99D4-58BD373D59A1}" destId="{1D380A2A-1436-4BC6-9682-4A6F1756B36A}" srcOrd="0" destOrd="1" presId="urn:microsoft.com/office/officeart/2005/8/layout/list1"/>
    <dgm:cxn modelId="{14B097BF-010A-4398-B6B7-223BFAC64252}" type="presOf" srcId="{69659624-A646-42E4-A835-F1EBBBD9138B}" destId="{4FBAF1EA-119C-4A7D-BED0-7FD2E02DC8D3}" srcOrd="0" destOrd="0" presId="urn:microsoft.com/office/officeart/2005/8/layout/list1"/>
    <dgm:cxn modelId="{7866F279-C672-4726-AD5B-C12BD5FDB3F2}" type="presOf" srcId="{2145B9AC-3DB4-49BD-8B9D-67935175CE51}" destId="{6B6A897F-5665-48D8-ACE1-FC4B644D487D}" srcOrd="1" destOrd="0" presId="urn:microsoft.com/office/officeart/2005/8/layout/list1"/>
    <dgm:cxn modelId="{B4AFF267-6DDF-46CC-A1C2-02B9B2BD075A}" type="presOf" srcId="{54518278-5A2B-46A8-AB9B-56E9194056B6}" destId="{148A2150-C136-4328-AEF5-922C2C3CE943}" srcOrd="0" destOrd="0" presId="urn:microsoft.com/office/officeart/2005/8/layout/list1"/>
    <dgm:cxn modelId="{50A8906C-645B-4C41-8036-D6D1F208B993}" type="presOf" srcId="{3CDAD735-0FA4-4F18-A4FF-BF26A4239D57}" destId="{4FBAF1EA-119C-4A7D-BED0-7FD2E02DC8D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D3E4FFBC-4C06-450A-9C6B-60E737B64A20}" type="presParOf" srcId="{9BB4A022-7BE9-4D96-9DCD-74C58E8AC746}" destId="{214F8A8D-5B2A-4C46-8AEB-8645900EAAFC}" srcOrd="0" destOrd="0" presId="urn:microsoft.com/office/officeart/2005/8/layout/list1"/>
    <dgm:cxn modelId="{BF10D4AA-8537-4719-A6B8-4A6E465B9DB1}" type="presParOf" srcId="{214F8A8D-5B2A-4C46-8AEB-8645900EAAFC}" destId="{0C7FECAC-14A2-4CFA-A84E-D34ECF27687B}" srcOrd="0" destOrd="0" presId="urn:microsoft.com/office/officeart/2005/8/layout/list1"/>
    <dgm:cxn modelId="{409B36E4-F134-4DAD-8285-87D9CE092B16}" type="presParOf" srcId="{214F8A8D-5B2A-4C46-8AEB-8645900EAAFC}" destId="{36EDF564-50E4-47F9-8DB5-BE5E735EFF0D}" srcOrd="1" destOrd="0" presId="urn:microsoft.com/office/officeart/2005/8/layout/list1"/>
    <dgm:cxn modelId="{FD40C7DD-4971-4EF5-9A34-AC9A3750A734}" type="presParOf" srcId="{9BB4A022-7BE9-4D96-9DCD-74C58E8AC746}" destId="{0929419D-D828-4EB1-BE85-545FAC75147D}" srcOrd="1" destOrd="0" presId="urn:microsoft.com/office/officeart/2005/8/layout/list1"/>
    <dgm:cxn modelId="{FABD7B21-9819-4D64-9459-485664520BAE}" type="presParOf" srcId="{9BB4A022-7BE9-4D96-9DCD-74C58E8AC746}" destId="{4FBAF1EA-119C-4A7D-BED0-7FD2E02DC8D3}" srcOrd="2" destOrd="0" presId="urn:microsoft.com/office/officeart/2005/8/layout/list1"/>
    <dgm:cxn modelId="{38653CC8-5745-4EFD-987C-B148D196F088}" type="presParOf" srcId="{9BB4A022-7BE9-4D96-9DCD-74C58E8AC746}" destId="{3F047EE5-19F6-4FFB-A6EB-10F6CB893674}" srcOrd="3" destOrd="0" presId="urn:microsoft.com/office/officeart/2005/8/layout/list1"/>
    <dgm:cxn modelId="{0FC634F0-A011-49E7-9974-9099805039B7}" type="presParOf" srcId="{9BB4A022-7BE9-4D96-9DCD-74C58E8AC746}" destId="{BD9540F2-B1BE-4B3B-A1A2-74B6265040F7}" srcOrd="4" destOrd="0" presId="urn:microsoft.com/office/officeart/2005/8/layout/list1"/>
    <dgm:cxn modelId="{C44594E6-EADF-46B7-8398-446BCF27DE41}" type="presParOf" srcId="{BD9540F2-B1BE-4B3B-A1A2-74B6265040F7}" destId="{2CFFDFEA-2A6E-4B3D-970A-80A69C636168}" srcOrd="0" destOrd="0" presId="urn:microsoft.com/office/officeart/2005/8/layout/list1"/>
    <dgm:cxn modelId="{0F91D75A-06EF-410A-9C03-BFC52E6189F9}" type="presParOf" srcId="{BD9540F2-B1BE-4B3B-A1A2-74B6265040F7}" destId="{BA975037-BE6C-4B32-8DBF-C84C73617461}" srcOrd="1" destOrd="0" presId="urn:microsoft.com/office/officeart/2005/8/layout/list1"/>
    <dgm:cxn modelId="{79CABACB-229C-49E7-8F94-71CAD13E8132}" type="presParOf" srcId="{9BB4A022-7BE9-4D96-9DCD-74C58E8AC746}" destId="{7B63C310-DF5C-4B83-921A-43B067EC887A}" srcOrd="5" destOrd="0" presId="urn:microsoft.com/office/officeart/2005/8/layout/list1"/>
    <dgm:cxn modelId="{27B6CE59-EBB5-47CF-B5D0-4E40689F5967}" type="presParOf" srcId="{9BB4A022-7BE9-4D96-9DCD-74C58E8AC746}" destId="{148A2150-C136-4328-AEF5-922C2C3CE943}" srcOrd="6" destOrd="0" presId="urn:microsoft.com/office/officeart/2005/8/layout/list1"/>
    <dgm:cxn modelId="{78A9F884-1CD6-4CD2-8480-92ADA8BC087C}" type="presParOf" srcId="{9BB4A022-7BE9-4D96-9DCD-74C58E8AC746}" destId="{0FC8BB4E-8250-4F46-B57E-26C6F3C17C11}" srcOrd="7" destOrd="0" presId="urn:microsoft.com/office/officeart/2005/8/layout/list1"/>
    <dgm:cxn modelId="{8BCACDFF-27EC-40B9-BDDB-2D22EF0A9566}" type="presParOf" srcId="{9BB4A022-7BE9-4D96-9DCD-74C58E8AC746}" destId="{730D1FBB-F471-4D30-A724-DB54D34EC6E9}" srcOrd="8" destOrd="0" presId="urn:microsoft.com/office/officeart/2005/8/layout/list1"/>
    <dgm:cxn modelId="{01F1B74A-6193-440D-92E9-396B4599AAF7}" type="presParOf" srcId="{730D1FBB-F471-4D30-A724-DB54D34EC6E9}" destId="{858BC837-E5A9-4C97-BB1B-4A6AFF7AC6A1}" srcOrd="0" destOrd="0" presId="urn:microsoft.com/office/officeart/2005/8/layout/list1"/>
    <dgm:cxn modelId="{D6F4B641-DC48-411B-A79D-06F6F38DFF81}" type="presParOf" srcId="{730D1FBB-F471-4D30-A724-DB54D34EC6E9}" destId="{6B6A897F-5665-48D8-ACE1-FC4B644D487D}" srcOrd="1" destOrd="0" presId="urn:microsoft.com/office/officeart/2005/8/layout/list1"/>
    <dgm:cxn modelId="{E37924BC-A38C-4D98-A0F9-C7509E225AE6}" type="presParOf" srcId="{9BB4A022-7BE9-4D96-9DCD-74C58E8AC746}" destId="{7140714F-DE80-44C7-8816-CA26445D9ECC}" srcOrd="9" destOrd="0" presId="urn:microsoft.com/office/officeart/2005/8/layout/list1"/>
    <dgm:cxn modelId="{1B34138E-A00E-48FE-BE02-561D9E07866A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47CE7E2-26CD-4206-8668-9B1F909F77D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835C976-DC7F-4C48-8293-245385A4898C}" type="presOf" srcId="{D14807FD-294C-4482-91EE-34C09B13669A}" destId="{BCE275B7-D1E9-4183-BABE-507E54E1C931}" srcOrd="0" destOrd="0" presId="urn:microsoft.com/office/officeart/2005/8/layout/chevron1"/>
    <dgm:cxn modelId="{268C028E-3E0D-4EF6-9634-21301AFE64F7}" type="presOf" srcId="{EB61DA86-9B86-4759-822E-DA32F7AA073E}" destId="{135DB1F4-89C2-4733-9521-42FD5CECF10C}" srcOrd="0" destOrd="0" presId="urn:microsoft.com/office/officeart/2005/8/layout/chevron1"/>
    <dgm:cxn modelId="{CF2FFAE4-9190-444A-BEA4-D0B2CE207321}" type="presOf" srcId="{F351D095-D2C1-4F62-A18D-EFB4BA6E2AA9}" destId="{6BF66C9A-92D4-481D-A538-FD1A4E3DC0D5}" srcOrd="0" destOrd="0" presId="urn:microsoft.com/office/officeart/2005/8/layout/chevron1"/>
    <dgm:cxn modelId="{F806A029-C944-4BA8-9053-69F50A942711}" type="presParOf" srcId="{0AECE453-CE2A-473C-BD27-70D00DA5B95C}" destId="{135DB1F4-89C2-4733-9521-42FD5CECF10C}" srcOrd="0" destOrd="0" presId="urn:microsoft.com/office/officeart/2005/8/layout/chevron1"/>
    <dgm:cxn modelId="{227042F2-E3F9-4A41-A690-FA8F79FDC0A6}" type="presParOf" srcId="{0AECE453-CE2A-473C-BD27-70D00DA5B95C}" destId="{E1C76734-9ABE-473C-AD4C-C4BF49F91E97}" srcOrd="1" destOrd="0" presId="urn:microsoft.com/office/officeart/2005/8/layout/chevron1"/>
    <dgm:cxn modelId="{7F829D01-4104-440A-83DA-BDCAF51C099E}" type="presParOf" srcId="{0AECE453-CE2A-473C-BD27-70D00DA5B95C}" destId="{6BF66C9A-92D4-481D-A538-FD1A4E3DC0D5}" srcOrd="2" destOrd="0" presId="urn:microsoft.com/office/officeart/2005/8/layout/chevron1"/>
    <dgm:cxn modelId="{4C40B4E8-B42A-4C5B-B2D2-EDDD5571CB95}" type="presParOf" srcId="{0AECE453-CE2A-473C-BD27-70D00DA5B95C}" destId="{691CB221-7DD5-49BE-AC21-301798066F30}" srcOrd="3" destOrd="0" presId="urn:microsoft.com/office/officeart/2005/8/layout/chevron1"/>
    <dgm:cxn modelId="{4B1CA307-1919-4576-A321-0210C0649BB0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8658C0-0088-4BC9-AFE1-A002D968D6EB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8D42E33-01A8-4245-BF0A-AFCD9A1967E2}" type="presOf" srcId="{9C869D94-BD20-4CF6-9CAA-58E706B950F6}" destId="{0AECE453-CE2A-473C-BD27-70D00DA5B95C}" srcOrd="0" destOrd="0" presId="urn:microsoft.com/office/officeart/2005/8/layout/chevron1"/>
    <dgm:cxn modelId="{7B5A3DBD-1657-4473-94E8-01CE1BBB5123}" type="presOf" srcId="{EB61DA86-9B86-4759-822E-DA32F7AA073E}" destId="{135DB1F4-89C2-4733-9521-42FD5CECF10C}" srcOrd="0" destOrd="0" presId="urn:microsoft.com/office/officeart/2005/8/layout/chevron1"/>
    <dgm:cxn modelId="{979BF138-CD81-429E-BC11-65E2BCF3173C}" type="presOf" srcId="{D14807FD-294C-4482-91EE-34C09B13669A}" destId="{BCE275B7-D1E9-4183-BABE-507E54E1C931}" srcOrd="0" destOrd="0" presId="urn:microsoft.com/office/officeart/2005/8/layout/chevron1"/>
    <dgm:cxn modelId="{97EC5132-4630-48E3-8216-3BA8EAFC1866}" type="presParOf" srcId="{0AECE453-CE2A-473C-BD27-70D00DA5B95C}" destId="{135DB1F4-89C2-4733-9521-42FD5CECF10C}" srcOrd="0" destOrd="0" presId="urn:microsoft.com/office/officeart/2005/8/layout/chevron1"/>
    <dgm:cxn modelId="{E3836271-EB47-4562-8F56-00B9D61F4074}" type="presParOf" srcId="{0AECE453-CE2A-473C-BD27-70D00DA5B95C}" destId="{E1C76734-9ABE-473C-AD4C-C4BF49F91E97}" srcOrd="1" destOrd="0" presId="urn:microsoft.com/office/officeart/2005/8/layout/chevron1"/>
    <dgm:cxn modelId="{A1672E79-D2DE-4FB9-B482-45377EDA0C13}" type="presParOf" srcId="{0AECE453-CE2A-473C-BD27-70D00DA5B95C}" destId="{6BF66C9A-92D4-481D-A538-FD1A4E3DC0D5}" srcOrd="2" destOrd="0" presId="urn:microsoft.com/office/officeart/2005/8/layout/chevron1"/>
    <dgm:cxn modelId="{6B846050-A43D-42E6-98B8-F09F770B3EC5}" type="presParOf" srcId="{0AECE453-CE2A-473C-BD27-70D00DA5B95C}" destId="{691CB221-7DD5-49BE-AC21-301798066F30}" srcOrd="3" destOrd="0" presId="urn:microsoft.com/office/officeart/2005/8/layout/chevron1"/>
    <dgm:cxn modelId="{14FBF203-E182-4DC3-8F37-46A3A2EAF3D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739BD87-E993-49B9-8398-DBB23C4BC4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1BAB718-6316-4A0A-8D0F-6A7D24196C6B}" type="presOf" srcId="{EB61DA86-9B86-4759-822E-DA32F7AA073E}" destId="{135DB1F4-89C2-4733-9521-42FD5CECF10C}" srcOrd="0" destOrd="0" presId="urn:microsoft.com/office/officeart/2005/8/layout/chevron1"/>
    <dgm:cxn modelId="{F5F8A065-BD08-4CD6-84EC-56C63C074473}" type="presOf" srcId="{F351D095-D2C1-4F62-A18D-EFB4BA6E2AA9}" destId="{6BF66C9A-92D4-481D-A538-FD1A4E3DC0D5}" srcOrd="0" destOrd="0" presId="urn:microsoft.com/office/officeart/2005/8/layout/chevron1"/>
    <dgm:cxn modelId="{CE66527F-4565-4E73-A10F-7F8993C11D64}" type="presOf" srcId="{D14807FD-294C-4482-91EE-34C09B13669A}" destId="{BCE275B7-D1E9-4183-BABE-507E54E1C931}" srcOrd="0" destOrd="0" presId="urn:microsoft.com/office/officeart/2005/8/layout/chevron1"/>
    <dgm:cxn modelId="{4CE4B516-C657-4B5A-B876-C382E59B5918}" type="presParOf" srcId="{0AECE453-CE2A-473C-BD27-70D00DA5B95C}" destId="{135DB1F4-89C2-4733-9521-42FD5CECF10C}" srcOrd="0" destOrd="0" presId="urn:microsoft.com/office/officeart/2005/8/layout/chevron1"/>
    <dgm:cxn modelId="{BD3A0C2F-1886-47B1-86C0-9226524D6999}" type="presParOf" srcId="{0AECE453-CE2A-473C-BD27-70D00DA5B95C}" destId="{E1C76734-9ABE-473C-AD4C-C4BF49F91E97}" srcOrd="1" destOrd="0" presId="urn:microsoft.com/office/officeart/2005/8/layout/chevron1"/>
    <dgm:cxn modelId="{2FBD0833-1CF5-4FFB-A3FC-A1B8D970C49E}" type="presParOf" srcId="{0AECE453-CE2A-473C-BD27-70D00DA5B95C}" destId="{6BF66C9A-92D4-481D-A538-FD1A4E3DC0D5}" srcOrd="2" destOrd="0" presId="urn:microsoft.com/office/officeart/2005/8/layout/chevron1"/>
    <dgm:cxn modelId="{EED5E8B9-3E9A-4D2F-8F95-F83028EBCB62}" type="presParOf" srcId="{0AECE453-CE2A-473C-BD27-70D00DA5B95C}" destId="{691CB221-7DD5-49BE-AC21-301798066F30}" srcOrd="3" destOrd="0" presId="urn:microsoft.com/office/officeart/2005/8/layout/chevron1"/>
    <dgm:cxn modelId="{1D5078DA-80C8-43A2-89E7-BF8F197BF671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1F336D2-2A06-4215-BC14-B61D11858E22}" type="presOf" srcId="{EB61DA86-9B86-4759-822E-DA32F7AA073E}" destId="{135DB1F4-89C2-4733-9521-42FD5CECF10C}" srcOrd="0" destOrd="0" presId="urn:microsoft.com/office/officeart/2005/8/layout/chevron1"/>
    <dgm:cxn modelId="{C861EACC-096C-4487-982B-7E624DBA67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F6E3C397-BC8D-4D59-BF11-91E3118A243C}" type="presOf" srcId="{D14807FD-294C-4482-91EE-34C09B13669A}" destId="{BCE275B7-D1E9-4183-BABE-507E54E1C931}" srcOrd="0" destOrd="0" presId="urn:microsoft.com/office/officeart/2005/8/layout/chevron1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C15C2D4C-2BFB-4341-B556-95EAE671BDB7}" type="presOf" srcId="{F351D095-D2C1-4F62-A18D-EFB4BA6E2AA9}" destId="{6BF66C9A-92D4-481D-A538-FD1A4E3DC0D5}" srcOrd="0" destOrd="0" presId="urn:microsoft.com/office/officeart/2005/8/layout/chevron1"/>
    <dgm:cxn modelId="{84DF0FB5-74E2-41E8-BB3B-41B4626C0248}" type="presParOf" srcId="{0AECE453-CE2A-473C-BD27-70D00DA5B95C}" destId="{135DB1F4-89C2-4733-9521-42FD5CECF10C}" srcOrd="0" destOrd="0" presId="urn:microsoft.com/office/officeart/2005/8/layout/chevron1"/>
    <dgm:cxn modelId="{2F5C50DE-8D7D-4B02-BCA5-94163BB9D36C}" type="presParOf" srcId="{0AECE453-CE2A-473C-BD27-70D00DA5B95C}" destId="{E1C76734-9ABE-473C-AD4C-C4BF49F91E97}" srcOrd="1" destOrd="0" presId="urn:microsoft.com/office/officeart/2005/8/layout/chevron1"/>
    <dgm:cxn modelId="{C8D8A29D-46D9-4C3E-B950-062587F47C99}" type="presParOf" srcId="{0AECE453-CE2A-473C-BD27-70D00DA5B95C}" destId="{6BF66C9A-92D4-481D-A538-FD1A4E3DC0D5}" srcOrd="2" destOrd="0" presId="urn:microsoft.com/office/officeart/2005/8/layout/chevron1"/>
    <dgm:cxn modelId="{14D8AB0B-D51E-49B9-B4B8-4A9120DE8EDA}" type="presParOf" srcId="{0AECE453-CE2A-473C-BD27-70D00DA5B95C}" destId="{691CB221-7DD5-49BE-AC21-301798066F30}" srcOrd="3" destOrd="0" presId="urn:microsoft.com/office/officeart/2005/8/layout/chevron1"/>
    <dgm:cxn modelId="{786FBDC5-B93E-4D1B-8C23-37A359D3FE4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3876944" y="2581464"/>
        <a:ext cx="1305024" cy="518965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032"/>
          <a:ext cx="7636071" cy="36019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032"/>
        <a:ext cx="7636071" cy="360197"/>
      </dsp:txXfrm>
    </dsp:sp>
    <dsp:sp modelId="{135D980B-F227-4000-9869-2D5A8FA31B13}">
      <dsp:nvSpPr>
        <dsp:cNvPr id="0" name=""/>
        <dsp:cNvSpPr/>
      </dsp:nvSpPr>
      <dsp:spPr>
        <a:xfrm>
          <a:off x="0" y="365230"/>
          <a:ext cx="7636071" cy="12057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b="1" u="sng" kern="1200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0" y="365230"/>
        <a:ext cx="7636071" cy="1205711"/>
      </dsp:txXfrm>
    </dsp:sp>
    <dsp:sp modelId="{003283A4-BBAE-49F6-A32A-13D1CE661B99}">
      <dsp:nvSpPr>
        <dsp:cNvPr id="0" name=""/>
        <dsp:cNvSpPr/>
      </dsp:nvSpPr>
      <dsp:spPr>
        <a:xfrm>
          <a:off x="0" y="1570941"/>
          <a:ext cx="7636071" cy="331459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570941"/>
        <a:ext cx="7636071" cy="331459"/>
      </dsp:txXfrm>
    </dsp:sp>
    <dsp:sp modelId="{BF5A6700-E73A-4C76-AB30-5E258848545C}">
      <dsp:nvSpPr>
        <dsp:cNvPr id="0" name=""/>
        <dsp:cNvSpPr/>
      </dsp:nvSpPr>
      <dsp:spPr>
        <a:xfrm>
          <a:off x="0" y="1902401"/>
          <a:ext cx="7636071" cy="1571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ebneel.com/daily/creative-drawing-jennifer-tjorvi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://www.embritas.lt/project/duomenu-apdorojimo-centras/?lang=de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www.openstack.org/brand/openstack-logo/logo-download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e.pinterest.com/pin/556053885218068326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0" y="1902401"/>
        <a:ext cx="7636071" cy="157113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1624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601026" y="216629"/>
          <a:ext cx="1031130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1624719"/>
        <a:ext cx="1748568" cy="1985767"/>
      </dsp:txXfrm>
    </dsp:sp>
    <dsp:sp modelId="{D3FD648B-60E4-4029-9DA6-BE2B4D2B4CBF}">
      <dsp:nvSpPr>
        <dsp:cNvPr id="0" name=""/>
        <dsp:cNvSpPr/>
      </dsp:nvSpPr>
      <dsp:spPr>
        <a:xfrm>
          <a:off x="2465691" y="216629"/>
          <a:ext cx="1148652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1624719"/>
        <a:ext cx="1748568" cy="1985767"/>
      </dsp:txXfrm>
    </dsp:sp>
    <dsp:sp modelId="{A6AC8A74-F87C-4B02-9448-DDBB12841FDC}">
      <dsp:nvSpPr>
        <dsp:cNvPr id="0" name=""/>
        <dsp:cNvSpPr/>
      </dsp:nvSpPr>
      <dsp:spPr>
        <a:xfrm>
          <a:off x="4422557" y="216629"/>
          <a:ext cx="1081769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1624719"/>
        <a:ext cx="1748568" cy="1985767"/>
      </dsp:txXfrm>
    </dsp:sp>
    <dsp:sp modelId="{3CFA2C21-08FD-4826-88F0-EC889468C537}">
      <dsp:nvSpPr>
        <dsp:cNvPr id="0" name=""/>
        <dsp:cNvSpPr/>
      </dsp:nvSpPr>
      <dsp:spPr>
        <a:xfrm>
          <a:off x="6369344" y="216629"/>
          <a:ext cx="1035047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1624719"/>
        <a:ext cx="1748568" cy="198576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88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7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329928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5" y="1329928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28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0" y="1329928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5" y="1329928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559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2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69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4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6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1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9" y="3301604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9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1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79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79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6" y="480636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27.jpe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13" Type="http://schemas.openxmlformats.org/officeDocument/2006/relationships/diagramQuickStyle" Target="../diagrams/quickStyle16.xml"/><Relationship Id="rId3" Type="http://schemas.openxmlformats.org/officeDocument/2006/relationships/notesSlide" Target="../notesSlides/notesSlide14.xml"/><Relationship Id="rId7" Type="http://schemas.openxmlformats.org/officeDocument/2006/relationships/diagramLayout" Target="../diagrams/layout15.xml"/><Relationship Id="rId12" Type="http://schemas.openxmlformats.org/officeDocument/2006/relationships/diagramLayout" Target="../diagrams/layout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15.xml"/><Relationship Id="rId11" Type="http://schemas.openxmlformats.org/officeDocument/2006/relationships/diagramData" Target="../diagrams/data16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16.xml"/><Relationship Id="rId10" Type="http://schemas.microsoft.com/office/2007/relationships/diagramDrawing" Target="../diagrams/drawing15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15.xml"/><Relationship Id="rId14" Type="http://schemas.openxmlformats.org/officeDocument/2006/relationships/diagramColors" Target="../diagrams/colors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QuickStyle" Target="../diagrams/quickStyle8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7.xml"/><Relationship Id="rId12" Type="http://schemas.openxmlformats.org/officeDocument/2006/relationships/diagramLayout" Target="../diagrams/layout8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7.xml"/><Relationship Id="rId11" Type="http://schemas.openxmlformats.org/officeDocument/2006/relationships/diagramData" Target="../diagrams/data8.xml"/><Relationship Id="rId5" Type="http://schemas.openxmlformats.org/officeDocument/2006/relationships/diagramLayout" Target="../diagrams/layout7.xml"/><Relationship Id="rId15" Type="http://schemas.microsoft.com/office/2007/relationships/diagramDrawing" Target="../diagrams/drawing8.xml"/><Relationship Id="rId10" Type="http://schemas.openxmlformats.org/officeDocument/2006/relationships/image" Target="../media/image20.jpeg"/><Relationship Id="rId4" Type="http://schemas.openxmlformats.org/officeDocument/2006/relationships/diagramData" Target="../diagrams/data7.xml"/><Relationship Id="rId9" Type="http://schemas.openxmlformats.org/officeDocument/2006/relationships/image" Target="../media/image12.jpeg"/><Relationship Id="rId14" Type="http://schemas.openxmlformats.org/officeDocument/2006/relationships/diagramColors" Target="../diagrams/colors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0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0.xml"/><Relationship Id="rId5" Type="http://schemas.openxmlformats.org/officeDocument/2006/relationships/image" Target="../media/image21.jpeg"/><Relationship Id="rId15" Type="http://schemas.microsoft.com/office/2007/relationships/diagramDrawing" Target="../diagrams/drawing10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553998"/>
          </a:xfrm>
        </p:spPr>
        <p:txBody>
          <a:bodyPr/>
          <a:lstStyle/>
          <a:p>
            <a:pPr algn="ctr"/>
            <a:r>
              <a:rPr lang="de-DE" sz="40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40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Diagramm 1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5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65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 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	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09255" y="3541016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A. Perri, J. Schäfer, O. Klippel / Cloud Kindergarten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29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3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7" y="768971"/>
          <a:ext cx="7636071" cy="347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250031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878918"/>
          <a:ext cx="8003460" cy="3610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3"/>
          <a:ext cx="5650549" cy="336998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 /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31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32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36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38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9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0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1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45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0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6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7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62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6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What?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A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That‘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how it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work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2" name="Diagramm 3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3">
    <a:dk1>
      <a:srgbClr val="000000"/>
    </a:dk1>
    <a:lt1>
      <a:srgbClr val="FFFFFF"/>
    </a:lt1>
    <a:dk2>
      <a:srgbClr val="E20074"/>
    </a:dk2>
    <a:lt2>
      <a:srgbClr val="A4A4A4"/>
    </a:lt2>
    <a:accent1>
      <a:srgbClr val="EDEDED"/>
    </a:accent1>
    <a:accent2>
      <a:srgbClr val="D0D0D0"/>
    </a:accent2>
    <a:accent3>
      <a:srgbClr val="7C7C7C"/>
    </a:accent3>
    <a:accent4>
      <a:srgbClr val="6C6C6C"/>
    </a:accent4>
    <a:accent5>
      <a:srgbClr val="4B4B4B"/>
    </a:accent5>
    <a:accent6>
      <a:srgbClr val="A4A4A4"/>
    </a:accent6>
    <a:hlink>
      <a:srgbClr val="E20074"/>
    </a:hlink>
    <a:folHlink>
      <a:srgbClr val="6C6C6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8</Words>
  <Application>Microsoft Office PowerPoint</Application>
  <PresentationFormat>Bildschirmpräsentation (16:9)</PresentationFormat>
  <Paragraphs>289</Paragraphs>
  <Slides>17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</vt:lpstr>
      <vt:lpstr>1.1 Experiences</vt:lpstr>
      <vt:lpstr>2. TelekomCLOUD + OpenStack</vt:lpstr>
      <vt:lpstr>2.1 Refcard – Overview</vt:lpstr>
      <vt:lpstr>2.2 Our Deployment – Services We Use</vt:lpstr>
      <vt:lpstr>2.2 Our Deployment – Datacenter</vt:lpstr>
      <vt:lpstr>Thank You For  Your Attention !!</vt:lpstr>
      <vt:lpstr>Sources</vt:lpstr>
      <vt:lpstr>3. Questions &amp; Answers</vt:lpstr>
      <vt:lpstr>Folie 17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72</cp:revision>
  <cp:lastPrinted>2012-09-04T09:22:48Z</cp:lastPrinted>
  <dcterms:created xsi:type="dcterms:W3CDTF">2016-04-21T06:54:03Z</dcterms:created>
  <dcterms:modified xsi:type="dcterms:W3CDTF">2016-10-17T12:0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